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60" r:id="rId2"/>
  </p:sldMasterIdLst>
  <p:notesMasterIdLst>
    <p:notesMasterId r:id="rId10"/>
  </p:notesMasterIdLst>
  <p:sldIdLst>
    <p:sldId id="765" r:id="rId3"/>
    <p:sldId id="800" r:id="rId4"/>
    <p:sldId id="801" r:id="rId5"/>
    <p:sldId id="802" r:id="rId6"/>
    <p:sldId id="804" r:id="rId7"/>
    <p:sldId id="803" r:id="rId8"/>
    <p:sldId id="731" r:id="rId9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A3A3A"/>
    <a:srgbClr val="66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94660"/>
  </p:normalViewPr>
  <p:slideViewPr>
    <p:cSldViewPr snapToGrid="0">
      <p:cViewPr varScale="1">
        <p:scale>
          <a:sx n="100" d="100"/>
          <a:sy n="100" d="100"/>
        </p:scale>
        <p:origin x="84" y="3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B3B247-53D4-49EF-9D23-AFCE111F2BB8}" type="datetimeFigureOut">
              <a:rPr lang="ru-RU" smtClean="0"/>
              <a:t>17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712458A-4B2C-4421-992C-DE7738DECCE2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16162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22620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7205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5294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94859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DC1EF62-428B-4A55-8A49-29D4D214BF1B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29985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050">
            <a:extLst>
              <a:ext uri="{FF2B5EF4-FFF2-40B4-BE49-F238E27FC236}">
                <a16:creationId xmlns:a16="http://schemas.microsoft.com/office/drawing/2014/main" id="{198E95A9-8416-49AB-A6D8-B072A19F105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solidFill>
            <a:srgbClr val="FFFFFF"/>
          </a:solidFill>
          <a:ln/>
        </p:spPr>
      </p:sp>
      <p:sp>
        <p:nvSpPr>
          <p:cNvPr id="17411" name="Rectangle 2051">
            <a:extLst>
              <a:ext uri="{FF2B5EF4-FFF2-40B4-BE49-F238E27FC236}">
                <a16:creationId xmlns:a16="http://schemas.microsoft.com/office/drawing/2014/main" id="{79A7F0F5-0456-413E-B456-220CC903D38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 lIns="91437" tIns="45718" rIns="91437" bIns="45718"/>
          <a:lstStyle/>
          <a:p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2DEB37-161C-4124-AB00-69C67317342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7A97BCD3-C703-450B-8F63-42DB2EE4FA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6E47BCB-BB60-4CA5-A494-A3E6C02412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26434-C1BF-41A7-85F3-3399CB129D94}" type="datetime1">
              <a:rPr lang="ru-RU" smtClean="0"/>
              <a:t>19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FA79C24-A3E9-4F6A-95F4-F32C83DC94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7B31131-6EDF-4445-81F6-B09630F4C1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15387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D734595-BC75-4219-903A-FF2D0648C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32ED335-773F-4653-989C-020D4B6AC4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2D0BAA9-B5A8-4E40-BCDD-069865671E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D65133-93EA-40DB-8862-BBBB88089B7E}" type="datetime1">
              <a:rPr lang="ru-RU" smtClean="0"/>
              <a:t>19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CFCB315-D521-4C4C-8372-9357044AA6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7E2B477-1698-4C64-8D76-FB7129A904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22621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07B93E8D-38EF-4DA0-B973-8F40920C14B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031ECB9-4884-4D20-8024-7CD704F231C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44029F7-192C-401E-B8A8-AA0153FCE0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8325CE-CD13-484D-8665-FA6B914E6D63}" type="datetime1">
              <a:rPr lang="ru-RU" smtClean="0"/>
              <a:t>19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373C0C9-0E3C-40A7-A7C3-6FFE619CF6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191F32F-E210-4FF9-A2CD-6B1A107CC2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742429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31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FA09CCF-BB4C-4462-A2FA-9F787753918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6987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01BB6A8-A4F3-49AB-93C4-6B32B36EB29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580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6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EAFAC55D-358F-490A-A63B-792E1FA6100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12227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60401" y="1600205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705601" y="1600205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2DB79B4E-13A8-424F-A4D4-4DE83EF7E93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929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0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1958BBD7-B023-4A97-AA83-9D2AB23E2523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5326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C05FF01-4CD2-4704-907D-5981795004D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80838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C1B69E5B-90C4-4FF2-B0C7-045C5789A812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6532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6" y="273056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F492CCF-DC9C-45E2-A637-69643D4FFC69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77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D05EDC0-431D-4BED-9FEE-71078F9B27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7C26B65-DC5C-47F2-A8FB-91928A09BDA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97DCCAB-2081-41B2-A1A3-09B0799CB9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5D4D76-7FA0-42A9-AA90-143F8ABABFF5}" type="datetime1">
              <a:rPr lang="ru-RU" smtClean="0"/>
              <a:t>19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EEE8B77-C278-45F0-BC38-4D14A0959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6BA428C-0F6C-4104-BC7B-62A3AD7A0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73947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DF72D071-6B53-44AC-BCE6-D16502DAA01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9725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384CA922-F077-4305-BF89-42E85234279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72873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575799" y="274643"/>
            <a:ext cx="2971801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60403" y="274643"/>
            <a:ext cx="8712201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A3F8B1B-2BB1-449E-BD32-1A022AEDE38C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19.02.2025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CF3A0CE-FB47-4628-AF62-2D67A550A45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90314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7E00DAD-BA71-4310-8DA7-D0863D556C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7D53E390-A06F-4E58-ACE6-EDE25BDCDE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C75C10D-32C0-4B52-B862-88E9667CA3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0F9F9A-5CB4-40D3-8253-D3C2704F6377}" type="datetime1">
              <a:rPr lang="ru-RU" smtClean="0"/>
              <a:t>19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230FAC5-9CCF-4B73-A92F-65259F9C99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9C7DB30-F876-430D-9F3A-767336A43C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92613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E80D04C-367E-4C0D-BFE1-B4138878D5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354D4B9-7A08-452E-8919-ECB1E89DCD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203BEB72-A4B5-460D-866E-96233FB93EF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5CE3C072-8D02-454D-8305-85555340A4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8393A4-2039-4ED9-8A8C-DEA676BBC25E}" type="datetime1">
              <a:rPr lang="ru-RU" smtClean="0"/>
              <a:t>19.0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479232E-41EF-417E-8F99-B190E8F71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081379C2-189C-40DB-909B-C9D71E3EF2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36421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67EAD3A-655C-4891-B8A5-70498E5D01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365126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43698C7-7A06-4323-B5B8-E337E27F23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F396E6E7-EB47-4341-985D-E55C13B4F27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A0654CBD-7E4A-40D3-BEDD-E6A98BC894B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1FF5D77-95BC-444E-A2A6-E7A4FB57F9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18D00EC1-23FA-4818-AC6C-AB085CBB5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85B57-30BA-4583-9ADD-BC47A7BB2B35}" type="datetime1">
              <a:rPr lang="ru-RU" smtClean="0"/>
              <a:t>19.02.2025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2646A35E-A3C1-43BF-BF31-856BE41A9B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DF72FF4D-B2D8-4C3D-92CC-6F752004B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9212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64A475A-9B9B-4CF9-AB49-918DD3D347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FFAFE865-2015-4689-BC6E-1777E74640D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B74ED-B2F9-47BD-9992-F9F895AD6580}" type="datetime1">
              <a:rPr lang="ru-RU" smtClean="0"/>
              <a:t>19.02.2025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76D45A4-03B0-4E74-9102-A27CF20544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CA4EB57-6867-45AE-A5E2-FB801846C1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01753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CB5A7D22-471B-4E0B-B003-74AF566581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03C67C-2320-4FF0-8616-0D8B39DE8578}" type="datetime1">
              <a:rPr lang="ru-RU" smtClean="0"/>
              <a:t>19.02.2025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26F692DE-92FA-4B94-BAAE-E7C30559BF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7D3E028D-08AF-4D36-89EF-4A579C4C6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97202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B5C586-4D31-4E34-A78B-927956621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5A5FA3F-787B-404D-B7C7-9C2FB28A6B7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6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C26FD60D-9850-4CC9-AC4A-D47A0E9626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A1452F4-8A54-4BDC-B9CF-449D0651F9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07F501C-A216-4D64-8C1B-249CE8A5570A}" type="datetime1">
              <a:rPr lang="ru-RU" smtClean="0"/>
              <a:t>19.0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438A3E9-6AE4-4343-8649-B5A940AF75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3B51245-62DC-4491-AA68-2C4D2754B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76643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587714-D2D9-4FDD-B394-C5D2AEADAE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AFB0C2E-47CD-4A12-92F5-DFC61E1EBB4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28E18587-74F1-433D-AA64-FB96C729D7A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A7CB6007-ED58-462D-9D5E-A6D93410AE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BAA721-89AA-439F-89EA-829B47E2B31F}" type="datetime1">
              <a:rPr lang="ru-RU" smtClean="0"/>
              <a:t>19.02.2025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0AE160EB-9B41-4C4D-A807-ADB56E585D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6D77BE5C-74C2-453A-B1DB-376BA6414A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3250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442FEFC-7CFD-4F15-B5C8-0D6A7F76A4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8743814-66F0-47BA-A1A7-5C2A8C1EE5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CEA02CF-F3C8-45B1-86A4-E76390C055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54A438-7E51-437D-8577-394A5843A735}" type="datetime1">
              <a:rPr lang="ru-RU" smtClean="0"/>
              <a:t>19.02.2025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A158DC-DCC3-4C90-92BB-4BCF7EADD37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A6A990F-39D9-4619-99AA-72123183AA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1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BB4044-92C7-4BC3-B06F-0F29D69CCE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9405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1DD32F35-B410-48E2-B4F9-0DCF56E18EF7}" type="datetime1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t>19.02.2025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6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6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F3A0CE-FB47-4628-AF62-2D67A550A453}" type="slidenum">
              <a:rPr lang="ru-RU" b="1" smtClean="0">
                <a:solidFill>
                  <a:prstClr val="black">
                    <a:tint val="75000"/>
                  </a:prstClr>
                </a:solidFill>
                <a:latin typeface="Times New Roman" pitchFamily="18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b="1" dirty="0">
              <a:solidFill>
                <a:prstClr val="black">
                  <a:tint val="75000"/>
                </a:prstClr>
              </a:solidFill>
              <a:latin typeface="Times New Roman" pitchFamily="18" charset="0"/>
              <a:cs typeface="Arial" charset="0"/>
            </a:endParaRPr>
          </a:p>
        </p:txBody>
      </p: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D2188727-96D6-4DD2-BBAA-E46E82FD76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94555014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Слайд think-cell" r:id="rId16" imgW="443" imgH="443" progId="TCLayout.ActiveDocument.1">
                  <p:embed/>
                </p:oleObj>
              </mc:Choice>
              <mc:Fallback>
                <p:oleObj name="Слайд think-cell" r:id="rId1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:a16="http://schemas.microsoft.com/office/drawing/2014/main" id="{0758FAD8-99FF-46E4-8FE2-B6967A8D7C9B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4400" dirty="0">
              <a:solidFill>
                <a:prstClr val="white"/>
              </a:solidFill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0132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>
    <p:cut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3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4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tomsib.ru/press_center/pub_icons/625.jpg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Line 2">
            <a:extLst>
              <a:ext uri="{FF2B5EF4-FFF2-40B4-BE49-F238E27FC236}">
                <a16:creationId xmlns:a16="http://schemas.microsoft.com/office/drawing/2014/main" id="{9968DBE7-BDFA-4BB8-9C20-A28146FAB0F4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881158" y="731837"/>
            <a:ext cx="8501122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38626" name="Rectangle 2">
            <a:extLst>
              <a:ext uri="{FF2B5EF4-FFF2-40B4-BE49-F238E27FC236}">
                <a16:creationId xmlns:a16="http://schemas.microsoft.com/office/drawing/2014/main" id="{062F4119-05DD-4DF2-AC26-BB7AC6E2C6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2133603"/>
            <a:ext cx="9144000" cy="1616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2075" tIns="46038" rIns="92075" bIns="46038" anchor="ctr"/>
          <a:lstStyle/>
          <a:p>
            <a:pPr algn="ctr" eaLnBrk="1" hangingPunct="1">
              <a:defRPr/>
            </a:pPr>
            <a:endParaRPr lang="ru-RU" b="1" cap="all" dirty="0">
              <a:solidFill>
                <a:schemeClr val="accent6">
                  <a:lumMod val="75000"/>
                </a:schemeClr>
              </a:solidFill>
              <a:latin typeface="Arial" charset="0"/>
              <a:cs typeface="Arial" charset="0"/>
            </a:endParaRPr>
          </a:p>
        </p:txBody>
      </p:sp>
      <p:sp>
        <p:nvSpPr>
          <p:cNvPr id="5123" name="Rectangle 3">
            <a:extLst>
              <a:ext uri="{FF2B5EF4-FFF2-40B4-BE49-F238E27FC236}">
                <a16:creationId xmlns:a16="http://schemas.microsoft.com/office/drawing/2014/main" id="{2CE182F7-FF99-409E-A709-C38E4F71629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24000" y="5029200"/>
            <a:ext cx="9144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2075" tIns="46038" rIns="92075" bIns="46038"/>
          <a:lstStyle/>
          <a:p>
            <a:pPr algn="ctr" eaLnBrk="1" hangingPunct="1">
              <a:lnSpc>
                <a:spcPct val="90000"/>
              </a:lnSpc>
              <a:defRPr/>
            </a:pPr>
            <a:endParaRPr kumimoji="1" lang="ru-RU" sz="20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124" name="Text Box 4">
            <a:extLst>
              <a:ext uri="{FF2B5EF4-FFF2-40B4-BE49-F238E27FC236}">
                <a16:creationId xmlns:a16="http://schemas.microsoft.com/office/drawing/2014/main" id="{BCF90105-9C0B-44B0-9462-75C21E897C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28800" y="6172203"/>
            <a:ext cx="853440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kumimoji="1" lang="ru-RU" sz="20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rPr>
              <a:t>20 февраля 2025 года </a:t>
            </a:r>
          </a:p>
        </p:txBody>
      </p:sp>
      <p:grpSp>
        <p:nvGrpSpPr>
          <p:cNvPr id="4104" name="Group 36">
            <a:extLst>
              <a:ext uri="{FF2B5EF4-FFF2-40B4-BE49-F238E27FC236}">
                <a16:creationId xmlns:a16="http://schemas.microsoft.com/office/drawing/2014/main" id="{D1A7D7A9-8FFC-45FC-B0F8-E74CBF0ECE12}"/>
              </a:ext>
            </a:extLst>
          </p:cNvPr>
          <p:cNvGrpSpPr>
            <a:grpSpLocks/>
          </p:cNvGrpSpPr>
          <p:nvPr/>
        </p:nvGrpSpPr>
        <p:grpSpPr bwMode="auto">
          <a:xfrm>
            <a:off x="127000" y="-192088"/>
            <a:ext cx="11620500" cy="2203451"/>
            <a:chOff x="-880" y="-376"/>
            <a:chExt cx="7320" cy="1388"/>
          </a:xfrm>
        </p:grpSpPr>
        <p:sp>
          <p:nvSpPr>
            <p:cNvPr id="4117" name="Rectangle 37">
              <a:extLst>
                <a:ext uri="{FF2B5EF4-FFF2-40B4-BE49-F238E27FC236}">
                  <a16:creationId xmlns:a16="http://schemas.microsoft.com/office/drawing/2014/main" id="{F5BD679B-C294-48DB-A20E-04E8ADDCBB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346"/>
              <a:ext cx="5760" cy="59"/>
            </a:xfrm>
            <a:prstGeom prst="rect">
              <a:avLst/>
            </a:prstGeom>
            <a:gradFill rotWithShape="0">
              <a:gsLst>
                <a:gs pos="0">
                  <a:srgbClr val="003366"/>
                </a:gs>
                <a:gs pos="100000">
                  <a:srgbClr val="0000CC"/>
                </a:gs>
              </a:gsLst>
              <a:lin ang="0" scaled="1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750"/>
                </a:spcBef>
                <a:buFont typeface="Arial" panose="020B0604020202020204" pitchFamily="34" charset="0"/>
                <a:buChar char="•"/>
                <a:defRPr sz="21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5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375"/>
                </a:spcBef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375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 sz="1300"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kumimoji="1" lang="ru-RU" altLang="ru-RU" sz="1400" b="1"/>
            </a:p>
          </p:txBody>
        </p:sp>
        <p:sp>
          <p:nvSpPr>
            <p:cNvPr id="5130" name="Rectangle 38">
              <a:extLst>
                <a:ext uri="{FF2B5EF4-FFF2-40B4-BE49-F238E27FC236}">
                  <a16:creationId xmlns:a16="http://schemas.microsoft.com/office/drawing/2014/main" id="{641F634F-4794-4400-84A1-2DB95FE7D8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58"/>
              <a:ext cx="5760" cy="166"/>
            </a:xfrm>
            <a:prstGeom prst="rect">
              <a:avLst/>
            </a:prstGeom>
            <a:gradFill rotWithShape="0">
              <a:gsLst>
                <a:gs pos="0">
                  <a:srgbClr val="003366"/>
                </a:gs>
                <a:gs pos="100000">
                  <a:srgbClr val="0000CC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/>
            <a:lstStyle/>
            <a:p>
              <a:pPr eaLnBrk="1" hangingPunct="1">
                <a:defRPr/>
              </a:pPr>
              <a:endParaRPr kumimoji="1" lang="ru-RU" sz="1400" b="1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131" name="Rectangle 39">
              <a:extLst>
                <a:ext uri="{FF2B5EF4-FFF2-40B4-BE49-F238E27FC236}">
                  <a16:creationId xmlns:a16="http://schemas.microsoft.com/office/drawing/2014/main" id="{84E4F7D7-3041-4BA6-9396-E22CEF9F87D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401"/>
              <a:ext cx="5760" cy="81"/>
            </a:xfrm>
            <a:prstGeom prst="rect">
              <a:avLst/>
            </a:prstGeom>
            <a:solidFill>
              <a:srgbClr val="993300"/>
            </a:solidFill>
            <a:ln w="9525">
              <a:noFill/>
              <a:miter lim="800000"/>
              <a:headEnd/>
              <a:tailEnd/>
            </a:ln>
            <a:effectLst/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>
              <a:bevelT w="139700" h="139700"/>
            </a:sp3d>
          </p:spPr>
          <p:txBody>
            <a:bodyPr/>
            <a:lstStyle/>
            <a:p>
              <a:pPr eaLnBrk="1" hangingPunct="1">
                <a:defRPr/>
              </a:pPr>
              <a:endParaRPr kumimoji="1" lang="ru-RU" sz="1400" b="1" dirty="0"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2" name="Text Box 40">
              <a:extLst>
                <a:ext uri="{FF2B5EF4-FFF2-40B4-BE49-F238E27FC236}">
                  <a16:creationId xmlns:a16="http://schemas.microsoft.com/office/drawing/2014/main" id="{6B6FCAB5-95B4-400B-B6C4-C6E6BF79FA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880" y="-376"/>
              <a:ext cx="7320" cy="5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 eaLnBrk="1" hangingPunct="1">
                <a:lnSpc>
                  <a:spcPct val="90000"/>
                </a:lnSpc>
                <a:defRPr/>
              </a:pPr>
              <a:endParaRPr kumimoji="1" lang="en-US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Calibri" pitchFamily="34" charset="0"/>
                <a:cs typeface="Calibri" pitchFamily="34" charset="0"/>
              </a:endParaRPr>
            </a:p>
            <a:p>
              <a:pPr algn="ctr" eaLnBrk="1" hangingPunct="1">
                <a:lnSpc>
                  <a:spcPct val="90000"/>
                </a:lnSpc>
                <a:defRPr/>
              </a:pPr>
              <a:r>
                <a:rPr kumimoji="1" lang="ru-RU" sz="2000" b="1" dirty="0">
                  <a:ln w="1905"/>
                  <a:solidFill>
                    <a:schemeClr val="accent5">
                      <a:lumMod val="50000"/>
                    </a:schemeClr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Федеральная служба по экологическому, </a:t>
              </a:r>
            </a:p>
            <a:p>
              <a:pPr algn="ctr" eaLnBrk="1" hangingPunct="1">
                <a:lnSpc>
                  <a:spcPct val="90000"/>
                </a:lnSpc>
                <a:defRPr/>
              </a:pPr>
              <a:r>
                <a:rPr kumimoji="1" lang="ru-RU" sz="2000" b="1" dirty="0">
                  <a:ln w="1905"/>
                  <a:solidFill>
                    <a:schemeClr val="accent5">
                      <a:lumMod val="50000"/>
                    </a:schemeClr>
                  </a:solidFill>
                  <a:effectLst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  <a:latin typeface="Times New Roman" panose="02020603050405020304" pitchFamily="18" charset="0"/>
                  <a:cs typeface="Times New Roman" panose="02020603050405020304" pitchFamily="18" charset="0"/>
                </a:rPr>
                <a:t>технологическому и атомному надзору. Забайкальское управление Ростехнадзора  </a:t>
              </a:r>
            </a:p>
          </p:txBody>
        </p:sp>
        <p:pic>
          <p:nvPicPr>
            <p:cNvPr id="4125" name="Picture 41" descr="fsetan_emblema2007">
              <a:extLst>
                <a:ext uri="{FF2B5EF4-FFF2-40B4-BE49-F238E27FC236}">
                  <a16:creationId xmlns:a16="http://schemas.microsoft.com/office/drawing/2014/main" id="{05AACFF2-B314-4144-AB22-97058EC0E5C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" y="263"/>
              <a:ext cx="666" cy="7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6" name="Line 2">
            <a:extLst>
              <a:ext uri="{FF2B5EF4-FFF2-40B4-BE49-F238E27FC236}">
                <a16:creationId xmlns:a16="http://schemas.microsoft.com/office/drawing/2014/main" id="{78ADDE7A-67FF-47BC-92F0-8E78949447EE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952625" y="5300662"/>
            <a:ext cx="8501122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Line 2">
            <a:extLst>
              <a:ext uri="{FF2B5EF4-FFF2-40B4-BE49-F238E27FC236}">
                <a16:creationId xmlns:a16="http://schemas.microsoft.com/office/drawing/2014/main" id="{0906889B-1DAF-4152-8B4F-60D3A75249D2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524000" y="-622300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A5268C3-6977-45C0-8D47-39B2D717F83D}"/>
              </a:ext>
            </a:extLst>
          </p:cNvPr>
          <p:cNvSpPr/>
          <p:nvPr/>
        </p:nvSpPr>
        <p:spPr>
          <a:xfrm>
            <a:off x="1881188" y="2057400"/>
            <a:ext cx="8678862" cy="1371600"/>
          </a:xfrm>
          <a:prstGeom prst="rect">
            <a:avLst/>
          </a:prstGeom>
          <a:solidFill>
            <a:schemeClr val="bg1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обенности разрешительной деятельности  в сфере предоставления государственных услуг </a:t>
            </a:r>
          </a:p>
        </p:txBody>
      </p:sp>
      <p:pic>
        <p:nvPicPr>
          <p:cNvPr id="4112" name="Picture 25" descr="http://www.gosnadzor.ru/upload/iblock/fd4/slideshow_2.jpg">
            <a:extLst>
              <a:ext uri="{FF2B5EF4-FFF2-40B4-BE49-F238E27FC236}">
                <a16:creationId xmlns:a16="http://schemas.microsoft.com/office/drawing/2014/main" id="{3D6410DC-1129-421A-87A9-6DBB23DD96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287" y="3886201"/>
            <a:ext cx="1585913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3" name="Рисунок 2">
            <a:extLst>
              <a:ext uri="{FF2B5EF4-FFF2-40B4-BE49-F238E27FC236}">
                <a16:creationId xmlns:a16="http://schemas.microsoft.com/office/drawing/2014/main" id="{03641E7F-4F80-418E-88B4-1D1C11DC68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8391" y="3886201"/>
            <a:ext cx="1552575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4" name="Picture 27">
            <a:extLst>
              <a:ext uri="{FF2B5EF4-FFF2-40B4-BE49-F238E27FC236}">
                <a16:creationId xmlns:a16="http://schemas.microsoft.com/office/drawing/2014/main" id="{B1F6C479-FDB0-4B20-9372-A82050DD9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965" y="3886201"/>
            <a:ext cx="1552575" cy="134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15" name="Рисунок 4">
            <a:extLst>
              <a:ext uri="{FF2B5EF4-FFF2-40B4-BE49-F238E27FC236}">
                <a16:creationId xmlns:a16="http://schemas.microsoft.com/office/drawing/2014/main" id="{6A54F778-7D2E-47E1-BFE1-992F397A7E9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8652" y="3886201"/>
            <a:ext cx="1617663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6" name="Рисунок 2">
            <a:extLst>
              <a:ext uri="{FF2B5EF4-FFF2-40B4-BE49-F238E27FC236}">
                <a16:creationId xmlns:a16="http://schemas.microsoft.com/office/drawing/2014/main" id="{A06142CE-A42F-4DB9-88F1-4418ECE9788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3315" y="3886201"/>
            <a:ext cx="1614487" cy="1343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13BF7EB-A75C-4DFB-A0DC-7ECEADF1E1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BB4044-92C7-4BC3-B06F-0F29D69CCE99}" type="slidenum">
              <a:rPr lang="ru-RU" smtClean="0"/>
              <a:t>1</a:t>
            </a:fld>
            <a:endParaRPr lang="ru-RU"/>
          </a:p>
        </p:txBody>
      </p:sp>
    </p:spTree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7745916"/>
              </p:ext>
            </p:ext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109728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1600" b="1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  <a:cs typeface="Arial" charset="0"/>
                  </a:rPr>
                  <a:t>РОСТЕХНАДЗОР</a:t>
                </a:r>
                <a:endParaRPr lang="ru-RU" kern="0" dirty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889" y="5949283"/>
            <a:ext cx="738698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2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91477" y="-144463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79046" y="7938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518558" y="518485"/>
            <a:ext cx="1033808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u="sng" kern="0" cap="all" dirty="0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Государственные услуги в электронной форме</a:t>
            </a:r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81FC914D-41DB-4331-86EC-9699AFA7D79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66615" y="1304378"/>
            <a:ext cx="10666244" cy="1696218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AC2DC527-91CD-40B8-AB7E-D9AC5150DF6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355361" y="2536326"/>
            <a:ext cx="9127111" cy="3574785"/>
          </a:xfrm>
          <a:prstGeom prst="rect">
            <a:avLst/>
          </a:prstGeom>
        </p:spPr>
      </p:pic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19CD573F-390C-4024-A9BA-4529855CDFBB}"/>
              </a:ext>
            </a:extLst>
          </p:cNvPr>
          <p:cNvCxnSpPr>
            <a:cxnSpLocks/>
          </p:cNvCxnSpPr>
          <p:nvPr/>
        </p:nvCxnSpPr>
        <p:spPr>
          <a:xfrm flipH="1">
            <a:off x="9732085" y="1505714"/>
            <a:ext cx="1500774" cy="798473"/>
          </a:xfrm>
          <a:prstGeom prst="straightConnector1">
            <a:avLst/>
          </a:prstGeom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9A1147DC-86C2-4FE7-BDC4-9725AB77D604}"/>
              </a:ext>
            </a:extLst>
          </p:cNvPr>
          <p:cNvCxnSpPr>
            <a:cxnSpLocks/>
          </p:cNvCxnSpPr>
          <p:nvPr/>
        </p:nvCxnSpPr>
        <p:spPr>
          <a:xfrm flipH="1">
            <a:off x="4244131" y="4093827"/>
            <a:ext cx="806041" cy="656170"/>
          </a:xfrm>
          <a:prstGeom prst="straightConnector1">
            <a:avLst/>
          </a:prstGeom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994F0CD1-2A55-4954-9241-451591FB26B1}"/>
              </a:ext>
            </a:extLst>
          </p:cNvPr>
          <p:cNvSpPr txBox="1"/>
          <p:nvPr/>
        </p:nvSpPr>
        <p:spPr>
          <a:xfrm>
            <a:off x="3684009" y="837693"/>
            <a:ext cx="6094602" cy="369332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https://www.gosnadzor.ru/service/State%20services/index.php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083" name="Picture 11">
            <a:extLst>
              <a:ext uri="{FF2B5EF4-FFF2-40B4-BE49-F238E27FC236}">
                <a16:creationId xmlns:a16="http://schemas.microsoft.com/office/drawing/2014/main" id="{938BAE03-D0A5-4905-AF52-6C9B90027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5850" y="5566637"/>
            <a:ext cx="4457700" cy="571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57185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:blinds dir="vert"/>
      </p:transition>
    </mc:Choice>
    <mc:Fallback xmlns="">
      <p:transition spd="slow">
        <p:blinds dir="vert"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109728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1600" b="1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  <a:cs typeface="Arial" charset="0"/>
                  </a:rPr>
                  <a:t>РОСТЕХНАДЗОР</a:t>
                </a:r>
                <a:endParaRPr lang="ru-RU" kern="0" dirty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889" y="5949283"/>
            <a:ext cx="738698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3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91477" y="-144463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79046" y="7938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478405" y="532792"/>
            <a:ext cx="1033808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u="sng" kern="0" cap="all" dirty="0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Лицензирование отдельных видов деятельности.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43CBD51-D7E0-445F-95A7-E5BF39A49BC4}"/>
              </a:ext>
            </a:extLst>
          </p:cNvPr>
          <p:cNvSpPr txBox="1"/>
          <p:nvPr/>
        </p:nvSpPr>
        <p:spPr>
          <a:xfrm>
            <a:off x="504498" y="1293082"/>
            <a:ext cx="10934691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449999" algn="just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С </a:t>
            </a:r>
            <a:r>
              <a:rPr lang="ru-RU" sz="18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1 марта 2025 года </a:t>
            </a: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вступает в силу Постановление Правительства РФ от 21.10.2024 № 1410, которое вносит изменения в Положение, утверждённое постановлением Правительства РФ от 12.10.2020 № 1661 «О лицензировании эксплуатации взрывопожароопасных и химически опасных производственных объектов I, II и III классов опасности». </a:t>
            </a:r>
            <a:endParaRPr lang="ru-RU" dirty="0">
              <a:effectLst/>
            </a:endParaRPr>
          </a:p>
          <a:p>
            <a:pPr indent="449999" algn="just">
              <a:spcBef>
                <a:spcPts val="0"/>
              </a:spcBef>
              <a:spcAft>
                <a:spcPts val="0"/>
              </a:spcAft>
            </a:pPr>
            <a:endParaRPr lang="ru-RU" sz="180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      С </a:t>
            </a:r>
            <a:r>
              <a:rPr lang="ru-RU" sz="1800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1 марта 2025 года</a:t>
            </a:r>
            <a:r>
              <a:rPr lang="ru-RU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 при подаче заявления для получения лицензии больше не потребуется прилагать копии документов, будет достаточно их реквизитов. Также сокращается перечень сведений, подаваемых с заявлением;</a:t>
            </a: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AutoNum type="arabicPeriod"/>
            </a:pPr>
            <a:endParaRPr lang="ru-RU" sz="180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ru-RU" dirty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ru-RU" sz="180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</a:rPr>
              <a:t>       С </a:t>
            </a:r>
            <a:r>
              <a:rPr lang="ru-RU" b="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</a:rPr>
              <a:t>1 марта 2025 года 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</a:rPr>
              <a:t>заявление подается по месту регистрации юридического лица или индивидуального  предпринимателя, в </a:t>
            </a:r>
            <a:r>
              <a:rPr lang="ru-RU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не зависимости от класса опасности 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</a:rPr>
              <a:t>опасного производственного объекта. </a:t>
            </a:r>
            <a:endParaRPr lang="ru-RU" sz="1800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pPr marL="342900" indent="-342900" algn="just">
              <a:spcBef>
                <a:spcPts val="0"/>
              </a:spcBef>
              <a:spcAft>
                <a:spcPts val="0"/>
              </a:spcAft>
              <a:buAutoNum type="arabicPeriod"/>
            </a:pPr>
            <a:endParaRPr lang="ru-RU" dirty="0">
              <a:effectLst/>
            </a:endParaRP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4180F03A-9568-45B1-A9D2-DF7E3ADEFE7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946597" y="3256372"/>
            <a:ext cx="2409772" cy="1072348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71F90D88-DA82-435B-B388-D1B92DF9D3B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36347" y="4964653"/>
            <a:ext cx="3712827" cy="157176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3990545C-AEDE-4C35-930E-05C716E8EF7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400808" y="4937266"/>
            <a:ext cx="2558642" cy="1599151"/>
          </a:xfrm>
          <a:prstGeom prst="rect">
            <a:avLst/>
          </a:prstGeom>
        </p:spPr>
      </p:pic>
      <p:sp>
        <p:nvSpPr>
          <p:cNvPr id="25" name="Знак ''плюс'' 24">
            <a:extLst>
              <a:ext uri="{FF2B5EF4-FFF2-40B4-BE49-F238E27FC236}">
                <a16:creationId xmlns:a16="http://schemas.microsoft.com/office/drawing/2014/main" id="{3631481C-AD9F-48B2-A4AF-43C1E67BABCE}"/>
              </a:ext>
            </a:extLst>
          </p:cNvPr>
          <p:cNvSpPr/>
          <p:nvPr/>
        </p:nvSpPr>
        <p:spPr>
          <a:xfrm>
            <a:off x="5667582" y="4924057"/>
            <a:ext cx="1569446" cy="1522157"/>
          </a:xfrm>
          <a:prstGeom prst="mathPlus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Знак ''плюс'' 26">
            <a:extLst>
              <a:ext uri="{FF2B5EF4-FFF2-40B4-BE49-F238E27FC236}">
                <a16:creationId xmlns:a16="http://schemas.microsoft.com/office/drawing/2014/main" id="{8DE65E96-7DD0-4BE5-8C77-5D3BFCFD4F49}"/>
              </a:ext>
            </a:extLst>
          </p:cNvPr>
          <p:cNvSpPr/>
          <p:nvPr/>
        </p:nvSpPr>
        <p:spPr>
          <a:xfrm>
            <a:off x="8675957" y="3096655"/>
            <a:ext cx="1569446" cy="1522157"/>
          </a:xfrm>
          <a:prstGeom prst="mathPlus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92157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:blinds dir="vert"/>
      </p:transition>
    </mc:Choice>
    <mc:Fallback>
      <p:transition spd="slow">
        <p:blinds dir="vert"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1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109728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1600" b="1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  <a:cs typeface="Arial" charset="0"/>
                  </a:rPr>
                  <a:t>РОСТЕХНАДЗОР</a:t>
                </a:r>
                <a:endParaRPr lang="ru-RU" kern="0" dirty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889" y="5949283"/>
            <a:ext cx="738698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4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91477" y="-144463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79046" y="7938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478405" y="493754"/>
            <a:ext cx="1033808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u="sng" kern="0" cap="all" dirty="0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ВЕДЕНИЕ РЕЕСТРА ЭКСПЕРТИЗЫ ПРОМЫШЛЕННОЙ БЕЗОПАСНОСТИ </a:t>
            </a:r>
          </a:p>
        </p:txBody>
      </p:sp>
      <p:pic>
        <p:nvPicPr>
          <p:cNvPr id="21" name="Picture 2">
            <a:extLst>
              <a:ext uri="{FF2B5EF4-FFF2-40B4-BE49-F238E27FC236}">
                <a16:creationId xmlns:a16="http://schemas.microsoft.com/office/drawing/2014/main" id="{0D42FB5A-D33F-4450-A470-EF437B93DA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389892"/>
            <a:ext cx="6786694" cy="51490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C53027E-AC1F-4AEC-A552-58541DFDE896}"/>
              </a:ext>
            </a:extLst>
          </p:cNvPr>
          <p:cNvSpPr txBox="1"/>
          <p:nvPr/>
        </p:nvSpPr>
        <p:spPr>
          <a:xfrm>
            <a:off x="6961952" y="1703982"/>
            <a:ext cx="504782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Ростехнадзора от 29.01.2025 № 30 «Об утверждении Административного регламента Федеральной службы по экологическому, технологическому и атомному надзору по предоставлению государственной </a:t>
            </a:r>
            <a:r>
              <a:rPr lang="ru-RU" dirty="0">
                <a:effectLst>
                  <a:outerShdw blurRad="60007" dir="2000400" sy="-30000" kx="-800400" algn="bl" rotWithShape="0">
                    <a:prstClr val="black">
                      <a:alpha val="20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услуги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«Внесение заключения экспертизы промышленной безопасности в реестр заключений экспертизы промышленной безопасности, а также исключение сведений из указанного реестра»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097D846-F82B-413D-B2C1-8B627DC0C2A0}"/>
              </a:ext>
            </a:extLst>
          </p:cNvPr>
          <p:cNvSpPr txBox="1"/>
          <p:nvPr/>
        </p:nvSpPr>
        <p:spPr>
          <a:xfrm>
            <a:off x="6961952" y="5253312"/>
            <a:ext cx="4854536" cy="369332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prstClr val="black"/>
                </a:solidFill>
                <a:effectLst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чало действия документа 22.02.2025г. </a:t>
            </a:r>
          </a:p>
        </p:txBody>
      </p:sp>
    </p:spTree>
    <p:extLst>
      <p:ext uri="{BB962C8B-B14F-4D97-AF65-F5344CB8AC3E}">
        <p14:creationId xmlns:p14="http://schemas.microsoft.com/office/powerpoint/2010/main" val="42888259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:blinds dir="vert"/>
      </p:transition>
    </mc:Choice>
    <mc:Fallback>
      <p:transition spd="slow">
        <p:blinds dir="vert"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109728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1600" b="1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  <a:cs typeface="Arial" charset="0"/>
                  </a:rPr>
                  <a:t>РОСТЕХНАДЗОР</a:t>
                </a:r>
                <a:endParaRPr lang="ru-RU" kern="0" dirty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889" y="5949283"/>
            <a:ext cx="738698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5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91477" y="-144463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79046" y="7938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478405" y="493754"/>
            <a:ext cx="1033808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u="sng" kern="0" cap="all" dirty="0" err="1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поРЯДОК</a:t>
            </a:r>
            <a:r>
              <a:rPr lang="ru-RU" sz="1600" u="sng" kern="0" cap="all" dirty="0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 ДОПУСКА В ЭКСПЛУТАЦИЮ ТЕПЛО- И  ЭНЕРГОУСТАНОВОК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C53027E-AC1F-4AEC-A552-58541DFDE896}"/>
              </a:ext>
            </a:extLst>
          </p:cNvPr>
          <p:cNvSpPr txBox="1"/>
          <p:nvPr/>
        </p:nvSpPr>
        <p:spPr>
          <a:xfrm>
            <a:off x="1428071" y="996684"/>
            <a:ext cx="383376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Правительства РФ от 04.12.2024 N 1711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097D846-F82B-413D-B2C1-8B627DC0C2A0}"/>
              </a:ext>
            </a:extLst>
          </p:cNvPr>
          <p:cNvSpPr txBox="1"/>
          <p:nvPr/>
        </p:nvSpPr>
        <p:spPr>
          <a:xfrm>
            <a:off x="6551802" y="1062878"/>
            <a:ext cx="3833769" cy="646331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solidFill>
                  <a:prstClr val="black"/>
                </a:solidFill>
                <a:effectLst>
                  <a:outerShdw blurRad="60007" dist="310007" dir="7680000" sy="30000" kx="1300200" algn="ctr" rotWithShape="0">
                    <a:prstClr val="black">
                      <a:alpha val="32000"/>
                    </a:prst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Начало действия документа 01.03.2025 . </a:t>
            </a: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52FD9CB8-20C8-4467-BFCC-D0750721AA2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2907160"/>
              </p:ext>
            </p:extLst>
          </p:nvPr>
        </p:nvGraphicFramePr>
        <p:xfrm>
          <a:off x="548081" y="1939779"/>
          <a:ext cx="11268407" cy="4370468"/>
        </p:xfrm>
        <a:graphic>
          <a:graphicData uri="http://schemas.openxmlformats.org/drawingml/2006/table">
            <a:tbl>
              <a:tblPr/>
              <a:tblGrid>
                <a:gridCol w="5395645">
                  <a:extLst>
                    <a:ext uri="{9D8B030D-6E8A-4147-A177-3AD203B41FA5}">
                      <a16:colId xmlns:a16="http://schemas.microsoft.com/office/drawing/2014/main" val="2831916249"/>
                    </a:ext>
                  </a:extLst>
                </a:gridCol>
                <a:gridCol w="5872762">
                  <a:extLst>
                    <a:ext uri="{9D8B030D-6E8A-4147-A177-3AD203B41FA5}">
                      <a16:colId xmlns:a16="http://schemas.microsoft.com/office/drawing/2014/main" val="3497206580"/>
                    </a:ext>
                  </a:extLst>
                </a:gridCol>
              </a:tblGrid>
              <a:tr h="3455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до 01.03.2025 </a:t>
                      </a:r>
                      <a:endParaRPr lang="ru-RU" sz="1800" b="1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после 01.03.2025 </a:t>
                      </a:r>
                      <a:endParaRPr lang="ru-RU" sz="1800" b="1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5487739"/>
                  </a:ext>
                </a:extLst>
              </a:tr>
              <a:tr h="3455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разрешение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запись в реестре </a:t>
                      </a:r>
                      <a:endParaRPr lang="ru-RU" sz="1800" b="1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2896625"/>
                  </a:ext>
                </a:extLst>
              </a:tr>
              <a:tr h="3455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не требуется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доверенность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требуется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 доверенность, или указание её реквизитов 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1034678"/>
                  </a:ext>
                </a:extLst>
              </a:tr>
              <a:tr h="691058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требуется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 заключение о соответствии объекта  проектной документации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не требуется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заключение о соответствии  объекта проектной документации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7572264"/>
                  </a:ext>
                </a:extLst>
              </a:tr>
              <a:tr h="6080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требуются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документы из ЕГРН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нужно 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только указание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кадастровых номеров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1442937"/>
                  </a:ext>
                </a:extLst>
              </a:tr>
              <a:tr h="514636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уведомление о принятии - 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5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 раб. дней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уведомление о принятии - 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2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 раб. дня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711169"/>
                  </a:ext>
                </a:extLst>
              </a:tr>
              <a:tr h="608054"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выдача временного разрешения -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 20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раб. дней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выдача временного разрешения - 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10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 раб. дней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3085160"/>
                  </a:ext>
                </a:extLst>
              </a:tr>
              <a:tr h="912079">
                <a:tc>
                  <a:txBody>
                    <a:bodyPr/>
                    <a:lstStyle/>
                    <a:p>
                      <a:pPr algn="ctr" fontAlgn="base"/>
                      <a:endParaRPr lang="ru-RU" sz="18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3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 раб. дня- подтверждение о дате и времени осмотра, или 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</a:rPr>
                        <a:t>выбор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</a:rPr>
                        <a:t> более поздней даты самим заявителем </a:t>
                      </a:r>
                      <a:endParaRPr lang="ru-RU" sz="1800" dirty="0">
                        <a:effectLst/>
                      </a:endParaRPr>
                    </a:p>
                  </a:txBody>
                  <a:tcPr marL="0" marR="0" marT="0" marB="0" anchor="b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5936856"/>
                  </a:ext>
                </a:extLst>
              </a:tr>
            </a:tbl>
          </a:graphicData>
        </a:graphic>
      </p:graphicFrame>
      <p:sp>
        <p:nvSpPr>
          <p:cNvPr id="17" name="Стрелка: вправо 16">
            <a:extLst>
              <a:ext uri="{FF2B5EF4-FFF2-40B4-BE49-F238E27FC236}">
                <a16:creationId xmlns:a16="http://schemas.microsoft.com/office/drawing/2014/main" id="{F14D8776-4222-4343-95E8-FA1BF8294217}"/>
              </a:ext>
            </a:extLst>
          </p:cNvPr>
          <p:cNvSpPr/>
          <p:nvPr/>
        </p:nvSpPr>
        <p:spPr>
          <a:xfrm>
            <a:off x="5486400" y="1990935"/>
            <a:ext cx="964734" cy="2516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: вправо 24">
            <a:extLst>
              <a:ext uri="{FF2B5EF4-FFF2-40B4-BE49-F238E27FC236}">
                <a16:creationId xmlns:a16="http://schemas.microsoft.com/office/drawing/2014/main" id="{74AF3663-8575-4066-A962-4F8B52AC5697}"/>
              </a:ext>
            </a:extLst>
          </p:cNvPr>
          <p:cNvSpPr/>
          <p:nvPr/>
        </p:nvSpPr>
        <p:spPr>
          <a:xfrm>
            <a:off x="5486400" y="2344221"/>
            <a:ext cx="964734" cy="251670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Знак ''плюс'' 19">
            <a:extLst>
              <a:ext uri="{FF2B5EF4-FFF2-40B4-BE49-F238E27FC236}">
                <a16:creationId xmlns:a16="http://schemas.microsoft.com/office/drawing/2014/main" id="{B3A9E0D9-B419-489F-8F8D-A7DB21164E11}"/>
              </a:ext>
            </a:extLst>
          </p:cNvPr>
          <p:cNvSpPr/>
          <p:nvPr/>
        </p:nvSpPr>
        <p:spPr>
          <a:xfrm>
            <a:off x="5935897" y="4896759"/>
            <a:ext cx="470613" cy="454593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Знак ''плюс'' 25">
            <a:extLst>
              <a:ext uri="{FF2B5EF4-FFF2-40B4-BE49-F238E27FC236}">
                <a16:creationId xmlns:a16="http://schemas.microsoft.com/office/drawing/2014/main" id="{DADAAD66-80BB-4370-85BE-BD65864CEFA6}"/>
              </a:ext>
            </a:extLst>
          </p:cNvPr>
          <p:cNvSpPr/>
          <p:nvPr/>
        </p:nvSpPr>
        <p:spPr>
          <a:xfrm>
            <a:off x="5935900" y="3094054"/>
            <a:ext cx="470613" cy="454593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Знак ''плюс'' 26">
            <a:extLst>
              <a:ext uri="{FF2B5EF4-FFF2-40B4-BE49-F238E27FC236}">
                <a16:creationId xmlns:a16="http://schemas.microsoft.com/office/drawing/2014/main" id="{21A21820-CE7C-4DF3-A989-F974E5F38847}"/>
              </a:ext>
            </a:extLst>
          </p:cNvPr>
          <p:cNvSpPr/>
          <p:nvPr/>
        </p:nvSpPr>
        <p:spPr>
          <a:xfrm>
            <a:off x="5931224" y="3738051"/>
            <a:ext cx="470613" cy="454593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Знак ''плюс'' 27">
            <a:extLst>
              <a:ext uri="{FF2B5EF4-FFF2-40B4-BE49-F238E27FC236}">
                <a16:creationId xmlns:a16="http://schemas.microsoft.com/office/drawing/2014/main" id="{B691996E-4FDE-4A6A-B7F0-F8D50BC00A52}"/>
              </a:ext>
            </a:extLst>
          </p:cNvPr>
          <p:cNvSpPr/>
          <p:nvPr/>
        </p:nvSpPr>
        <p:spPr>
          <a:xfrm>
            <a:off x="5946977" y="4307929"/>
            <a:ext cx="470613" cy="454593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Знак ''плюс'' 28">
            <a:extLst>
              <a:ext uri="{FF2B5EF4-FFF2-40B4-BE49-F238E27FC236}">
                <a16:creationId xmlns:a16="http://schemas.microsoft.com/office/drawing/2014/main" id="{EEEB4995-0450-4AE6-AED1-A367EF92B2E6}"/>
              </a:ext>
            </a:extLst>
          </p:cNvPr>
          <p:cNvSpPr/>
          <p:nvPr/>
        </p:nvSpPr>
        <p:spPr>
          <a:xfrm>
            <a:off x="5931225" y="5407612"/>
            <a:ext cx="470613" cy="454593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969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:blinds dir="vert"/>
      </p:transition>
    </mc:Choice>
    <mc:Fallback>
      <p:transition spd="slow">
        <p:blinds dir="vert"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Объект 17" hidden="1">
            <a:extLst>
              <a:ext uri="{FF2B5EF4-FFF2-40B4-BE49-F238E27FC236}">
                <a16:creationId xmlns:a16="http://schemas.microsoft.com/office/drawing/2014/main" id="{3E034962-BA4C-41F2-8250-7BFD29424AD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5" y="1588"/>
          <a:ext cx="1954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Слайд think-cell" r:id="rId6" imgW="443" imgH="443" progId="TCLayout.ActiveDocument.1">
                  <p:embed/>
                </p:oleObj>
              </mc:Choice>
              <mc:Fallback>
                <p:oleObj name="Слайд think-cell" r:id="rId6" imgW="443" imgH="443" progId="TCLayout.ActiveDocument.1">
                  <p:embed/>
                  <p:pic>
                    <p:nvPicPr>
                      <p:cNvPr id="18" name="Объект 17" hidden="1">
                        <a:extLst>
                          <a:ext uri="{FF2B5EF4-FFF2-40B4-BE49-F238E27FC236}">
                            <a16:creationId xmlns:a16="http://schemas.microsoft.com/office/drawing/2014/main" id="{3E034962-BA4C-41F2-8250-7BFD29424A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55" y="1588"/>
                        <a:ext cx="1954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Прямоугольник 18" hidden="1">
            <a:extLst>
              <a:ext uri="{FF2B5EF4-FFF2-40B4-BE49-F238E27FC236}">
                <a16:creationId xmlns:a16="http://schemas.microsoft.com/office/drawing/2014/main" id="{F5DA54A2-4FA1-4531-8C32-97F3A80681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95385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7" name="Заголовок 3"/>
          <p:cNvGrpSpPr>
            <a:grpSpLocks noGrp="1"/>
          </p:cNvGrpSpPr>
          <p:nvPr/>
        </p:nvGrpSpPr>
        <p:grpSpPr>
          <a:xfrm>
            <a:off x="0" y="82457"/>
            <a:ext cx="10972800" cy="1150757"/>
            <a:chOff x="35496" y="36555"/>
            <a:chExt cx="9107488" cy="1197107"/>
          </a:xfrm>
        </p:grpSpPr>
        <p:grpSp>
          <p:nvGrpSpPr>
            <p:cNvPr id="8" name="Группа 34"/>
            <p:cNvGrpSpPr/>
            <p:nvPr/>
          </p:nvGrpSpPr>
          <p:grpSpPr>
            <a:xfrm>
              <a:off x="35496" y="332656"/>
              <a:ext cx="9107488" cy="419795"/>
              <a:chOff x="35496" y="332656"/>
              <a:chExt cx="9107488" cy="419795"/>
            </a:xfrm>
          </p:grpSpPr>
          <p:sp>
            <p:nvSpPr>
              <p:cNvPr id="12" name="Rectangle 16"/>
              <p:cNvSpPr>
                <a:spLocks noChangeArrowheads="1"/>
              </p:cNvSpPr>
              <p:nvPr/>
            </p:nvSpPr>
            <p:spPr bwMode="auto">
              <a:xfrm>
                <a:off x="35496" y="476672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1F497D">
                      <a:lumMod val="60000"/>
                      <a:lumOff val="40000"/>
                    </a:srgbClr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3" name="Rectangle 16"/>
              <p:cNvSpPr>
                <a:spLocks noChangeArrowheads="1"/>
              </p:cNvSpPr>
              <p:nvPr/>
            </p:nvSpPr>
            <p:spPr bwMode="auto">
              <a:xfrm>
                <a:off x="35496" y="620688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rgbClr val="FF0000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  <p:sp>
            <p:nvSpPr>
              <p:cNvPr id="14" name="Rectangle 16"/>
              <p:cNvSpPr>
                <a:spLocks noChangeArrowheads="1"/>
              </p:cNvSpPr>
              <p:nvPr/>
            </p:nvSpPr>
            <p:spPr bwMode="auto">
              <a:xfrm>
                <a:off x="35496" y="332656"/>
                <a:ext cx="9107488" cy="131763"/>
              </a:xfrm>
              <a:prstGeom prst="rect">
                <a:avLst/>
              </a:prstGeom>
              <a:gradFill rotWithShape="0">
                <a:gsLst>
                  <a:gs pos="0">
                    <a:sysClr val="window" lastClr="FFFFFF"/>
                  </a:gs>
                  <a:gs pos="100000">
                    <a:sysClr val="window" lastClr="FFFFFF">
                      <a:alpha val="5000"/>
                    </a:sysClr>
                  </a:gs>
                </a:gsLst>
                <a:lin ang="0" scaled="1"/>
              </a:gradFill>
              <a:ln>
                <a:noFill/>
              </a:ln>
            </p:spPr>
            <p:txBody>
              <a:bodyPr/>
              <a:lstStyle/>
              <a:p>
                <a:pPr>
                  <a:defRPr/>
                </a:pPr>
                <a:endParaRPr lang="ru-RU" kern="0" dirty="0">
                  <a:solidFill>
                    <a:sysClr val="windowText" lastClr="000000"/>
                  </a:solidFill>
                  <a:latin typeface="Times New Roman" pitchFamily="18" charset="0"/>
                  <a:cs typeface="Arial" pitchFamily="34" charset="0"/>
                </a:endParaRPr>
              </a:p>
            </p:txBody>
          </p:sp>
        </p:grpSp>
        <p:grpSp>
          <p:nvGrpSpPr>
            <p:cNvPr id="9" name="Группа 35"/>
            <p:cNvGrpSpPr/>
            <p:nvPr/>
          </p:nvGrpSpPr>
          <p:grpSpPr>
            <a:xfrm>
              <a:off x="35496" y="36555"/>
              <a:ext cx="4315393" cy="1197107"/>
              <a:chOff x="35496" y="36555"/>
              <a:chExt cx="4315393" cy="1197107"/>
            </a:xfrm>
          </p:grpSpPr>
          <p:sp>
            <p:nvSpPr>
              <p:cNvPr id="10" name="Text Box 18"/>
              <p:cNvSpPr txBox="1">
                <a:spLocks noChangeArrowheads="1"/>
              </p:cNvSpPr>
              <p:nvPr/>
            </p:nvSpPr>
            <p:spPr bwMode="auto">
              <a:xfrm>
                <a:off x="35496" y="36555"/>
                <a:ext cx="4315393" cy="35219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defRPr/>
                </a:pPr>
                <a:r>
                  <a:rPr lang="ru-RU" sz="1600" b="1" kern="0" dirty="0">
                    <a:solidFill>
                      <a:sysClr val="windowText" lastClr="000000"/>
                    </a:solidFill>
                    <a:effectLst>
                      <a:outerShdw blurRad="38100" dist="38100" dir="2700000" algn="tl">
                        <a:srgbClr val="C0C0C0"/>
                      </a:outerShdw>
                    </a:effectLst>
                    <a:latin typeface="Arial" charset="0"/>
                    <a:cs typeface="Arial" charset="0"/>
                  </a:rPr>
                  <a:t>РОСТЕХНАДЗОР</a:t>
                </a:r>
                <a:endParaRPr lang="ru-RU" kern="0" dirty="0">
                  <a:solidFill>
                    <a:sysClr val="windowText" lastClr="000000"/>
                  </a:solidFill>
                  <a:latin typeface="Arial" charset="0"/>
                  <a:cs typeface="Arial" charset="0"/>
                </a:endParaRPr>
              </a:p>
            </p:txBody>
          </p:sp>
          <p:pic>
            <p:nvPicPr>
              <p:cNvPr id="11" name="Picture 19" descr="fsetan_emblema2007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908" y="44624"/>
                <a:ext cx="1053053" cy="118903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C98421D8-4A83-4A3A-811B-9E9262F80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24889" y="5949283"/>
            <a:ext cx="738698" cy="365125"/>
          </a:xfrm>
        </p:spPr>
        <p:txBody>
          <a:bodyPr/>
          <a:lstStyle/>
          <a:p>
            <a:pPr algn="ctr">
              <a:defRPr/>
            </a:pPr>
            <a:fld id="{4F814217-A692-4320-9F69-D25E0A5EB74C}" type="slidenum">
              <a:rPr lang="ru-RU" smtClean="0">
                <a:solidFill>
                  <a:prstClr val="white"/>
                </a:solidFill>
              </a:rPr>
              <a:pPr algn="ctr">
                <a:defRPr/>
              </a:pPr>
              <a:t>6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5" name="AutoShape 39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191477" y="-144463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6" name="AutoShape 41" descr="https://donvesti.ru/wp-content/uploads/2020/09/maxresdefault-1.jpg"/>
          <p:cNvSpPr>
            <a:spLocks noChangeAspect="1" noChangeArrowheads="1"/>
          </p:cNvSpPr>
          <p:nvPr/>
        </p:nvSpPr>
        <p:spPr bwMode="auto">
          <a:xfrm>
            <a:off x="379046" y="7938"/>
            <a:ext cx="375138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prstClr val="black"/>
              </a:solidFill>
              <a:latin typeface="Times New Roman" pitchFamily="18" charset="0"/>
              <a:cs typeface="Arial" charset="0"/>
            </a:endParaRPr>
          </a:p>
        </p:txBody>
      </p:sp>
      <p:sp>
        <p:nvSpPr>
          <p:cNvPr id="15" name="Text Box 18"/>
          <p:cNvSpPr txBox="1">
            <a:spLocks noChangeArrowheads="1"/>
          </p:cNvSpPr>
          <p:nvPr/>
        </p:nvSpPr>
        <p:spPr bwMode="auto">
          <a:xfrm>
            <a:off x="1478405" y="493754"/>
            <a:ext cx="1033808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600" u="sng" kern="0" cap="all" dirty="0" err="1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ПРеИМУЩЕСТВА</a:t>
            </a:r>
            <a:r>
              <a:rPr lang="ru-RU" sz="1600" u="sng" kern="0" cap="all" dirty="0">
                <a:solidFill>
                  <a:sysClr val="windowText" lastClr="000000"/>
                </a:solidFill>
                <a:latin typeface="Times New Roman" pitchFamily="18" charset="0"/>
                <a:cs typeface="Times New Roman" panose="02020603050405020304" pitchFamily="18" charset="0"/>
              </a:rPr>
              <a:t> ПОЛУЧЕНИЯ ГОСУДАРСТВЕННЫХ УСЛУГ В  ЭЛЕКТРОННОМ ВИДЕ </a:t>
            </a:r>
          </a:p>
        </p:txBody>
      </p: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C258E75-D54F-442D-98F1-B8BB29F39C8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0615" y="1322983"/>
            <a:ext cx="7313187" cy="516792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E613EED-1D16-40C9-96AB-D70BC00B91D7}"/>
              </a:ext>
            </a:extLst>
          </p:cNvPr>
          <p:cNvSpPr txBox="1"/>
          <p:nvPr/>
        </p:nvSpPr>
        <p:spPr>
          <a:xfrm>
            <a:off x="8783273" y="185396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1026FD4-AB12-4926-93DA-C443BE7E8161}"/>
              </a:ext>
            </a:extLst>
          </p:cNvPr>
          <p:cNvSpPr txBox="1"/>
          <p:nvPr/>
        </p:nvSpPr>
        <p:spPr>
          <a:xfrm>
            <a:off x="7643802" y="1322983"/>
            <a:ext cx="3938598" cy="52629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400" b="1" u="sng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2024 год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endParaRPr lang="ru-RU" sz="1400" b="1" u="sng" dirty="0">
              <a:solidFill>
                <a:srgbClr val="000000"/>
              </a:solidFill>
              <a:effectLst/>
              <a:latin typeface="Times New Roman" panose="02020603050405020304" pitchFamily="18" charset="0"/>
            </a:endParaRP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Доля заявлений по государственным услугами функциям, поданных в управление через ЕПГУ от общего количества, составляет </a:t>
            </a:r>
            <a:r>
              <a:rPr lang="ru-RU" sz="1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15 %. </a:t>
            </a:r>
          </a:p>
          <a:p>
            <a:pPr algn="just">
              <a:spcBef>
                <a:spcPts val="0"/>
              </a:spcBef>
              <a:spcAft>
                <a:spcPts val="0"/>
              </a:spcAft>
            </a:pPr>
            <a:endParaRPr lang="ru-RU" sz="1400" b="1" dirty="0">
              <a:effectLst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</a:pP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      Наилучшие показатели по доле заявлений по государственным услугам, поданных в управление через ЕПГУ от общего количества, по следующим государственным услугам и функциям: </a:t>
            </a:r>
            <a:endParaRPr lang="ru-RU" sz="1400" dirty="0">
              <a:effectLst/>
            </a:endParaRP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Лицензирование деятельности по производству маркшейдерских работ- </a:t>
            </a:r>
            <a:r>
              <a:rPr lang="ru-RU" sz="1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100%</a:t>
            </a: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;</a:t>
            </a:r>
            <a:endParaRPr lang="ru-RU" sz="1400" dirty="0">
              <a:effectLst/>
            </a:endParaRP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Ведение реестра заключений экспертизы промышленной безопасности -</a:t>
            </a:r>
            <a:r>
              <a:rPr lang="ru-RU" sz="1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39%</a:t>
            </a: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;</a:t>
            </a:r>
            <a:endParaRPr lang="ru-RU" sz="1400" dirty="0">
              <a:effectLst/>
            </a:endParaRP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Лицензирование деятельности по эксплуатации взрывопожароопасных и химически опасных производственных объектов I, II и III классов опасности- </a:t>
            </a:r>
            <a:r>
              <a:rPr lang="ru-RU" sz="1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19 %</a:t>
            </a: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;</a:t>
            </a:r>
            <a:endParaRPr lang="ru-RU" sz="1400" dirty="0">
              <a:effectLst/>
            </a:endParaRPr>
          </a:p>
          <a:p>
            <a:pPr marL="285750" indent="-285750" algn="jus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Организация проведения аттестации по вопросам промышленной безопасности, по вопросам безопасности гидротехнических сооружений, безопасности в сфере электроэнергетики- </a:t>
            </a:r>
            <a:r>
              <a:rPr lang="ru-RU" sz="1400" b="1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16%</a:t>
            </a:r>
            <a:r>
              <a:rPr lang="ru-RU" sz="1400" dirty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.</a:t>
            </a:r>
            <a:endParaRPr lang="ru-RU" sz="1400" dirty="0"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91700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1600">
        <p:blinds dir="vert"/>
      </p:transition>
    </mc:Choice>
    <mc:Fallback>
      <p:transition spd="slow">
        <p:blinds dir="vert"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Картинка 1 из 5605">
            <a:hlinkClick r:id="rId3"/>
            <a:extLst>
              <a:ext uri="{FF2B5EF4-FFF2-40B4-BE49-F238E27FC236}">
                <a16:creationId xmlns:a16="http://schemas.microsoft.com/office/drawing/2014/main" id="{9BF66104-EFA1-4499-9964-1E12DFB1445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lum bright="9000" contrast="5000"/>
          </a:blip>
          <a:srcRect/>
          <a:stretch>
            <a:fillRect/>
          </a:stretch>
        </p:blipFill>
        <p:spPr bwMode="auto">
          <a:xfrm>
            <a:off x="2452664" y="1428736"/>
            <a:ext cx="7608146" cy="5072098"/>
          </a:xfrm>
          <a:prstGeom prst="rect">
            <a:avLst/>
          </a:prstGeom>
          <a:noFill/>
        </p:spPr>
      </p:pic>
      <p:sp>
        <p:nvSpPr>
          <p:cNvPr id="16387" name="Номер слайда 4">
            <a:extLst>
              <a:ext uri="{FF2B5EF4-FFF2-40B4-BE49-F238E27FC236}">
                <a16:creationId xmlns:a16="http://schemas.microsoft.com/office/drawing/2014/main" id="{66E1B870-D4F7-4238-8997-C82A6247D1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375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2C6255DE-693C-43A8-A990-A0CE3F014115}" type="slidenum">
              <a:rPr lang="ru-RU" altLang="ru-RU" sz="1200">
                <a:solidFill>
                  <a:srgbClr val="898989"/>
                </a:solidFill>
                <a:latin typeface="Arial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7</a:t>
            </a:fld>
            <a:endParaRPr lang="ru-RU" altLang="ru-RU" sz="1200">
              <a:solidFill>
                <a:srgbClr val="898989"/>
              </a:solidFill>
              <a:latin typeface="Arial" panose="020B0604020202020204" pitchFamily="34" charset="0"/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65D2BB75-0EAD-4E15-B4F4-7E3E427F43A2}"/>
              </a:ext>
            </a:extLst>
          </p:cNvPr>
          <p:cNvSpPr/>
          <p:nvPr/>
        </p:nvSpPr>
        <p:spPr>
          <a:xfrm>
            <a:off x="2452690" y="188914"/>
            <a:ext cx="7608887" cy="12398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4000" b="1" dirty="0">
                <a:solidFill>
                  <a:schemeClr val="tx1"/>
                </a:solidFill>
              </a:rPr>
              <a:t>Спасибо за внимание!</a:t>
            </a:r>
          </a:p>
        </p:txBody>
      </p:sp>
      <p:sp>
        <p:nvSpPr>
          <p:cNvPr id="7" name="Line 2">
            <a:extLst>
              <a:ext uri="{FF2B5EF4-FFF2-40B4-BE49-F238E27FC236}">
                <a16:creationId xmlns:a16="http://schemas.microsoft.com/office/drawing/2014/main" id="{FE7A764A-7624-4969-9712-79AF638F7576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631504" y="1429544"/>
            <a:ext cx="9144000" cy="0"/>
          </a:xfrm>
          <a:prstGeom prst="line">
            <a:avLst/>
          </a:prstGeom>
          <a:noFill/>
          <a:ln w="38100">
            <a:solidFill>
              <a:srgbClr val="C00000"/>
            </a:solidFill>
            <a:round/>
            <a:headEnd/>
            <a:tailEnd/>
          </a:ln>
          <a:scene3d>
            <a:camera prst="orthographicFront"/>
            <a:lightRig rig="threePt" dir="t"/>
          </a:scene3d>
          <a:sp3d>
            <a:bevelT w="139700"/>
          </a:sp3d>
        </p:spPr>
        <p:txBody>
          <a:bodyPr wrap="none" anchor="ctr"/>
          <a:lstStyle/>
          <a:p>
            <a:pPr eaLnBrk="1" hangingPunct="1">
              <a:defRPr/>
            </a:pPr>
            <a:endParaRPr lang="ru-RU" dirty="0">
              <a:latin typeface="Calibri" pitchFamily="34" charset="0"/>
              <a:cs typeface="Calibri" pitchFamily="34" charset="0"/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BoIKoMzT9Wh20k0e2mB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Hq9QWiGw25YFCyaQbx4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089</TotalTime>
  <Words>463</Words>
  <Application>Microsoft Office PowerPoint</Application>
  <PresentationFormat>Широкоэкранный</PresentationFormat>
  <Paragraphs>64</Paragraphs>
  <Slides>7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Times New Roman</vt:lpstr>
      <vt:lpstr>Тема Office</vt:lpstr>
      <vt:lpstr>1_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сения В. Крушельницкая</dc:creator>
  <cp:lastModifiedBy>Ксения В. Крушельницкая</cp:lastModifiedBy>
  <cp:revision>16</cp:revision>
  <dcterms:created xsi:type="dcterms:W3CDTF">2024-02-19T07:21:12Z</dcterms:created>
  <dcterms:modified xsi:type="dcterms:W3CDTF">2025-02-19T04:39:29Z</dcterms:modified>
</cp:coreProperties>
</file>